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56" r:id="rId2"/>
  </p:sldMasterIdLst>
  <p:notesMasterIdLst>
    <p:notesMasterId r:id="rId4"/>
  </p:notesMasterIdLst>
  <p:sldIdLst>
    <p:sldId id="402" r:id="rId3"/>
  </p:sldIdLst>
  <p:sldSz cx="9906000" cy="6858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제목 없는 구역" id="{193DAD96-AC9C-45E4-AC60-D1567D80FBB4}">
          <p14:sldIdLst>
            <p14:sldId id="40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90" userDrawn="1">
          <p15:clr>
            <a:srgbClr val="A4A3A4"/>
          </p15:clr>
        </p15:guide>
        <p15:guide id="2" pos="6136" userDrawn="1">
          <p15:clr>
            <a:srgbClr val="A4A3A4"/>
          </p15:clr>
        </p15:guide>
        <p15:guide id="3" orient="horz" pos="5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95" autoAdjust="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3342" y="114"/>
      </p:cViewPr>
      <p:guideLst>
        <p:guide orient="horz" pos="3090"/>
        <p:guide pos="6136"/>
        <p:guide orient="horz" pos="50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395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1EA438-E07B-4133-90D2-272BCEA3ED7E}" type="datetimeFigureOut">
              <a:rPr lang="ko-KR" altLang="en-US" smtClean="0"/>
              <a:t>2023-11-1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CCA63F-8BE1-43EF-9918-A856789DD15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4905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1EEE24-ABC2-420C-A2FD-5430EDF39A38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6088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001" y="117328"/>
            <a:ext cx="2792999" cy="47667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000" b="1">
                <a:latin typeface="Arial Narrow" pitchFamily="34" charset="0"/>
                <a:ea typeface="LG스마트체 Regular" pitchFamily="50" charset="-127"/>
              </a:defRPr>
            </a:lvl1pPr>
          </a:lstStyle>
          <a:p>
            <a:endParaRPr lang="ko-KR" altLang="en-US" dirty="0"/>
          </a:p>
        </p:txBody>
      </p:sp>
      <p:cxnSp>
        <p:nvCxnSpPr>
          <p:cNvPr id="7" name="직선 연결선 6"/>
          <p:cNvCxnSpPr/>
          <p:nvPr/>
        </p:nvCxnSpPr>
        <p:spPr>
          <a:xfrm>
            <a:off x="0" y="650748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4368000" y="6457375"/>
            <a:ext cx="1034999" cy="365125"/>
          </a:xfrm>
          <a:prstGeom prst="rect">
            <a:avLst/>
          </a:prstGeom>
        </p:spPr>
        <p:txBody>
          <a:bodyPr/>
          <a:lstStyle>
            <a:lvl1pPr>
              <a:defRPr sz="1100" b="1">
                <a:latin typeface="Arial Narrow" pitchFamily="34" charset="0"/>
                <a:ea typeface="LG스마트체 Regular" pitchFamily="50" charset="-127"/>
              </a:defRPr>
            </a:lvl1pPr>
          </a:lstStyle>
          <a:p>
            <a:r>
              <a:rPr lang="ko-KR" altLang="en-US" dirty="0" err="1" smtClean="0">
                <a:solidFill>
                  <a:srgbClr val="000000"/>
                </a:solidFill>
              </a:rPr>
              <a:t>유첨</a:t>
            </a:r>
            <a:r>
              <a:rPr lang="ko-KR" altLang="en-US" dirty="0" smtClean="0">
                <a:solidFill>
                  <a:srgbClr val="000000"/>
                </a:solidFill>
              </a:rPr>
              <a:t>  </a:t>
            </a:r>
            <a:r>
              <a:rPr lang="ko-KR" altLang="en-US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fld id="{B558C8F3-4D43-495F-A064-D60D04B896D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altLang="ko-KR" dirty="0" smtClean="0">
                <a:solidFill>
                  <a:srgbClr val="000000"/>
                </a:solidFill>
              </a:rPr>
              <a:t>/32</a:t>
            </a:r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929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5D7A2DBC-EF63-489B-AA3F-F315D6AE9D26}" type="datetimeFigureOut">
              <a:rPr lang="ko-KR" altLang="en-US">
                <a:solidFill>
                  <a:prstClr val="black"/>
                </a:solidFill>
              </a:rPr>
              <a:pPr/>
              <a:t>2023-11-15</a:t>
            </a:fld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CF5C3D57-193B-40B9-BEEF-1FE9E6E9A7C6}" type="slidenum">
              <a:rPr lang="ko-KR" altLang="en-US">
                <a:solidFill>
                  <a:prstClr val="black"/>
                </a:solidFill>
              </a:rPr>
              <a:pPr/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041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 userDrawn="1"/>
        </p:nvSpPr>
        <p:spPr>
          <a:xfrm>
            <a:off x="3977336" y="211278"/>
            <a:ext cx="1904946" cy="2667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 Internal USE Only</a:t>
            </a:r>
            <a:endParaRPr lang="ko-KR" altLang="en-US" sz="1400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9300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8"/>
          <p:cNvCxnSpPr>
            <a:cxnSpLocks noChangeShapeType="1"/>
          </p:cNvCxnSpPr>
          <p:nvPr userDrawn="1"/>
        </p:nvCxn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656200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6BF2C10F-AB2C-409F-9635-1486B30D32CD}" type="datetimeFigureOut">
              <a:rPr lang="ko-KR" altLang="en-US" smtClean="0">
                <a:solidFill>
                  <a:srgbClr val="000000"/>
                </a:solidFill>
              </a:rPr>
              <a:pPr/>
              <a:t>2023-11-15</a:t>
            </a:fld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245C5F45-9B77-4C68-A7E2-06214CAABC6A}" type="slidenum">
              <a:rPr lang="ko-KR" altLang="en-US" smtClean="0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985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altLang="ko-KR" sz="1200" smtClean="0">
                <a:solidFill>
                  <a:srgbClr val="000000"/>
                </a:solidFill>
                <a:latin typeface="Calibri" panose="020F0502020204030204" pitchFamily="34" charset="0"/>
              </a:rPr>
              <a:t>LGE Internal Use Only</a:t>
            </a:r>
            <a:endParaRPr lang="ko-KR" altLang="en-US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643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1" r:id="rId3"/>
    <p:sldLayoutId id="2147483702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0" y="534987"/>
            <a:ext cx="990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4286" tIns="37143" rIns="74286" bIns="37143"/>
          <a:lstStyle/>
          <a:p>
            <a:pPr defTabSz="742857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056" b="1" dirty="0">
              <a:solidFill>
                <a:srgbClr val="000000"/>
              </a:solidFill>
              <a:ea typeface="LG스마트체 Regular" panose="020B0600000101010101" pitchFamily="50" charset="-127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4154562" y="134810"/>
            <a:ext cx="1590526" cy="28556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56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LGE Internal Use Only</a:t>
            </a:r>
            <a:endParaRPr lang="ko-KR" altLang="en-US" sz="1056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" name="MSIPCMContentMarking" descr="{&quot;HashCode&quot;:-1860332160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i="1" u="sng" smtClean="0">
                <a:solidFill>
                  <a:srgbClr val="000000"/>
                </a:solidFill>
                <a:latin typeface="Calibri" panose="020F0502020204030204" pitchFamily="34" charset="0"/>
                <a:ea typeface="LG스마트체 Regular" panose="020B0600000101010101" pitchFamily="50" charset="-127"/>
              </a:rPr>
              <a:t>LGE Internal Use Only</a:t>
            </a:r>
            <a:endParaRPr lang="ko-KR" altLang="en-US" sz="1200" i="1" u="sng" smtClean="0">
              <a:solidFill>
                <a:srgbClr val="000000"/>
              </a:solidFill>
              <a:latin typeface="Calibri" panose="020F0502020204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37213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71473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742946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114419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485891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273446" indent="-273446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1pPr>
      <a:lvl2pPr marL="599774" indent="-227012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275">
          <a:solidFill>
            <a:schemeClr val="tx1"/>
          </a:solidFill>
          <a:latin typeface="+mn-lt"/>
          <a:ea typeface="+mn-ea"/>
        </a:defRPr>
      </a:lvl2pPr>
      <a:lvl3pPr marL="923523" indent="-181868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950">
          <a:solidFill>
            <a:schemeClr val="tx1"/>
          </a:solidFill>
          <a:latin typeface="+mn-lt"/>
          <a:ea typeface="+mn-ea"/>
        </a:defRPr>
      </a:lvl3pPr>
      <a:lvl4pPr marL="1293706" indent="-18057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25">
          <a:solidFill>
            <a:schemeClr val="tx1"/>
          </a:solidFill>
          <a:latin typeface="+mn-lt"/>
          <a:ea typeface="+mn-ea"/>
        </a:defRPr>
      </a:lvl4pPr>
      <a:lvl5pPr marL="1665179" indent="-181868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5pPr>
      <a:lvl6pPr marL="2036652" indent="-181868" algn="l" rtl="0" fontAlgn="base" latinLnBrk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6pPr>
      <a:lvl7pPr marL="2408124" indent="-181868" algn="l" rtl="0" fontAlgn="base" latinLnBrk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7pPr>
      <a:lvl8pPr marL="2779597" indent="-181868" algn="l" rtl="0" fontAlgn="base" latinLnBrk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8pPr>
      <a:lvl9pPr marL="3151070" indent="-181868" algn="l" rtl="0" fontAlgn="base" latinLnBrk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73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46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419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91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64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837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310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83" algn="l" defTabSz="742946" rtl="0" eaLnBrk="1" latinLnBrk="1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notesSlide" Target="../notesSlides/notesSlide1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2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1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직사각형 145"/>
          <p:cNvSpPr/>
          <p:nvPr/>
        </p:nvSpPr>
        <p:spPr>
          <a:xfrm>
            <a:off x="5687635" y="1894123"/>
            <a:ext cx="4041781" cy="71973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endParaRPr lang="en-US" altLang="ko-KR" sz="1000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93" name="표 92"/>
          <p:cNvGraphicFramePr>
            <a:graphicFrameLocks noGrp="1"/>
          </p:cNvGraphicFramePr>
          <p:nvPr>
            <p:extLst/>
          </p:nvPr>
        </p:nvGraphicFramePr>
        <p:xfrm>
          <a:off x="569417" y="1899308"/>
          <a:ext cx="4470162" cy="715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0162"/>
              </a:tblGrid>
              <a:tr h="715700"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불량 판정의 자동화를 통해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사 작업자 감축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불량 검출 정확도 향상 및 판정 시간 단축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DX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기반 일하는 문화의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사 확대 전개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269902"/>
              </p:ext>
            </p:extLst>
          </p:nvPr>
        </p:nvGraphicFramePr>
        <p:xfrm>
          <a:off x="1100137" y="2684243"/>
          <a:ext cx="8599436" cy="40846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9718"/>
                <a:gridCol w="4299718"/>
              </a:tblGrid>
              <a:tr h="305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세부실행 항목 및 완료 조건</a:t>
                      </a:r>
                      <a:endParaRPr lang="ko-KR" altLang="en-US" sz="12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이행 현황 및 이슈</a:t>
                      </a:r>
                      <a:endParaRPr lang="en-US" altLang="ko-KR" sz="12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03244">
                <a:tc rowSpan="3">
                  <a:txBody>
                    <a:bodyPr/>
                    <a:lstStyle/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모듈조립 후 진행하는 외관검사를 통한 부자재류 누락 검출을 육안 검출방식에서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도면과의 이미지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atching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을 통한 비교 분석 방식을 통해 자동적으로 불량을 검출해 낼 수 있는 시스템을 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System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전개도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완료조건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 부자재 누락 검출 자동 판정 모델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듈의 부자재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(Tape)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에 대한 검출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→ 향후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crew, Pad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류 등 판정 항목에 대한 추가 발굴 예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도면과의 이미지 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atching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을 통한 간편한 시스템 구축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171450" lvl="0" indent="635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System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평전개를 통한 판정 </a:t>
                      </a:r>
                      <a:r>
                        <a:rPr lang="ko-KR" altLang="en-US" sz="1000" b="1" kern="1200" baseline="0" dirty="0" err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적확도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증대</a:t>
                      </a:r>
                      <a:endParaRPr lang="ko-KR" altLang="en-US" sz="10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자동화 시스템 구축을 위한 현업 인터뷰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DX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기반 검증</a:t>
                      </a: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Tool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개발 및 적용 환경 구축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 검증용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입력을 위한 시스템 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양불 판정 기준 수립 및 모듈 이미지의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base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검증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의 업로드 및 </a:t>
                      </a:r>
                      <a:r>
                        <a:rPr lang="ko-KR" altLang="en-US" sz="1000" b="0" kern="1200" baseline="0" dirty="0" err="1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머신러닝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진행을 위한 신규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프로그램 제작 및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업체 배포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Pilot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모델 검증 및 판정 성능 개선활동 진행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대표모델 선정 후 양불 판정 시스템 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판정결과 확인 및 정확도 향상을 위한 개선 작업 진행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전 모델로의 수평전개 진행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3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현업 전파 및 </a:t>
                      </a:r>
                      <a:r>
                        <a:rPr lang="en-US" altLang="ko-KR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1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업체별 시스템 배포 및 판정 환경 구축</a:t>
                      </a:r>
                      <a:endParaRPr lang="en-US" altLang="ko-KR" sz="1000" b="0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 -.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업체 </a:t>
                      </a:r>
                      <a:r>
                        <a:rPr lang="en-US" altLang="ko-KR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eedback </a:t>
                      </a:r>
                      <a:r>
                        <a:rPr lang="ko-KR" altLang="en-US" sz="1000" b="0" kern="1200" baseline="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렴 및 개선활동 진행</a:t>
                      </a:r>
                      <a:endParaRPr lang="en-US" altLang="ko-KR" sz="1000" b="1" kern="1200" baseline="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5143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altLang="ko-KR" sz="12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ottle Neck</a:t>
                      </a:r>
                      <a:endParaRPr lang="ko-KR" altLang="en-US" sz="1200" b="1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553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q"/>
                      </a:pPr>
                      <a:r>
                        <a:rPr lang="en-US" altLang="ko-KR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1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지원요청 사항</a:t>
                      </a:r>
                      <a:endParaRPr lang="en-US" altLang="ko-KR" sz="1000" b="1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현 수준 확인 및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System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을 위한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BM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사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X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역량 강화필요</a:t>
                      </a:r>
                      <a:endParaRPr lang="en-US" altLang="ko-KR" sz="1000" b="0" kern="1200" dirty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도면을 활용하여 학습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 Set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을 구성할 수 있는 신규 시스템 구축</a:t>
                      </a:r>
                      <a:endParaRPr lang="en-US" altLang="ko-KR" sz="1000" b="0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271463" lvl="0" indent="-93663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</a:pP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검출용 이미지의 </a:t>
                      </a:r>
                      <a:r>
                        <a:rPr lang="en-US" altLang="ko-KR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atabase </a:t>
                      </a:r>
                      <a:r>
                        <a:rPr lang="ko-KR" altLang="en-US" sz="1000" b="0" kern="1200" dirty="0" smtClean="0">
                          <a:solidFill>
                            <a:prstClr val="black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구축을 위한 서버 투자 필요</a:t>
                      </a:r>
                      <a:endParaRPr lang="en-US" altLang="ko-KR" sz="1000" b="0" kern="1200" dirty="0" smtClean="0">
                        <a:solidFill>
                          <a:prstClr val="black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직사각형 13"/>
          <p:cNvSpPr>
            <a:spLocks noChangeArrowheads="1"/>
          </p:cNvSpPr>
          <p:nvPr/>
        </p:nvSpPr>
        <p:spPr bwMode="auto">
          <a:xfrm>
            <a:off x="53973" y="187537"/>
            <a:ext cx="1714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>
            <a:spAutoFit/>
          </a:bodyPr>
          <a:lstStyle>
            <a:lvl1pPr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2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DX </a:t>
            </a:r>
            <a:r>
              <a:rPr lang="ko-KR" altLang="en-US" sz="2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과제 등록서</a:t>
            </a:r>
            <a:endParaRPr lang="ko-KR" altLang="en-US" sz="2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154883" y="2674463"/>
            <a:ext cx="900000" cy="407046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내용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24" name="직사각형 123"/>
          <p:cNvSpPr/>
          <p:nvPr/>
        </p:nvSpPr>
        <p:spPr>
          <a:xfrm>
            <a:off x="154883" y="810279"/>
            <a:ext cx="900000" cy="37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과제명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43" name="직사각형 142"/>
          <p:cNvSpPr/>
          <p:nvPr/>
        </p:nvSpPr>
        <p:spPr>
          <a:xfrm>
            <a:off x="154883" y="1897913"/>
            <a:ext cx="370897" cy="71511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en-US" altLang="ko-KR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KPI</a:t>
            </a:r>
            <a:endParaRPr lang="en-US" altLang="ko-KR" sz="1200" b="1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45" name="직사각형 144"/>
          <p:cNvSpPr/>
          <p:nvPr>
            <p:custDataLst>
              <p:tags r:id="rId3"/>
            </p:custDataLst>
          </p:nvPr>
        </p:nvSpPr>
        <p:spPr>
          <a:xfrm>
            <a:off x="5102173" y="1894123"/>
            <a:ext cx="523781" cy="71973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추진</a:t>
            </a:r>
            <a:endParaRPr lang="en-US" altLang="ko-KR" sz="1200" b="1" kern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일정</a:t>
            </a:r>
            <a:endParaRPr lang="en-US" altLang="ko-KR" sz="1200" b="1" kern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71" name="표 70"/>
          <p:cNvGraphicFramePr>
            <a:graphicFrameLocks noGrp="1"/>
          </p:cNvGraphicFramePr>
          <p:nvPr>
            <p:extLst/>
          </p:nvPr>
        </p:nvGraphicFramePr>
        <p:xfrm>
          <a:off x="154883" y="1248385"/>
          <a:ext cx="900000" cy="6092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/>
              </a:tblGrid>
              <a:tr h="211902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객가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688">
                <a:tc>
                  <a:txBody>
                    <a:bodyPr/>
                    <a:lstStyle/>
                    <a:p>
                      <a:pPr algn="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업가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688"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ata</a:t>
                      </a:r>
                      <a:r>
                        <a:rPr lang="en-US" altLang="ko-KR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1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활용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표 72"/>
          <p:cNvGraphicFramePr>
            <a:graphicFrameLocks noGrp="1"/>
          </p:cNvGraphicFramePr>
          <p:nvPr>
            <p:extLst/>
          </p:nvPr>
        </p:nvGraphicFramePr>
        <p:xfrm>
          <a:off x="1100137" y="1252005"/>
          <a:ext cx="3962930" cy="605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930"/>
              </a:tblGrid>
              <a:tr h="6053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 모듈 조립 후 진행하는 모듈 배면 부자재 부착 검사를 도면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tching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이용한 자동화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yste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으로 개선하여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M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의 품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생산성 향상 및 업무효율화에 기여함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4" name="직사각형 73"/>
          <p:cNvSpPr/>
          <p:nvPr>
            <p:custDataLst>
              <p:tags r:id="rId4"/>
            </p:custDataLst>
          </p:nvPr>
        </p:nvSpPr>
        <p:spPr>
          <a:xfrm>
            <a:off x="5102173" y="810277"/>
            <a:ext cx="523781" cy="102506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ts val="1500"/>
              </a:lnSpc>
            </a:pPr>
            <a:r>
              <a:rPr lang="ko-KR" altLang="en-US" sz="1200" b="1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실행</a:t>
            </a:r>
            <a:endParaRPr lang="en-US" altLang="ko-KR" sz="1200" b="1" kern="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latinLnBrk="0">
              <a:lnSpc>
                <a:spcPts val="1500"/>
              </a:lnSpc>
            </a:pPr>
            <a:r>
              <a:rPr lang="ko-KR" altLang="en-US" sz="1200" b="1" kern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조직</a:t>
            </a:r>
            <a:endParaRPr lang="en-US" altLang="ko-KR" sz="1200" b="1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78" name="표 77"/>
          <p:cNvGraphicFramePr>
            <a:graphicFrameLocks noGrp="1"/>
          </p:cNvGraphicFramePr>
          <p:nvPr>
            <p:extLst/>
          </p:nvPr>
        </p:nvGraphicFramePr>
        <p:xfrm>
          <a:off x="5685414" y="811392"/>
          <a:ext cx="413429" cy="1022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429"/>
              </a:tblGrid>
              <a:tr h="51106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성명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06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팀명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2000" marR="72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표 78"/>
          <p:cNvGraphicFramePr>
            <a:graphicFrameLocks noGrp="1"/>
          </p:cNvGraphicFramePr>
          <p:nvPr>
            <p:extLst/>
          </p:nvPr>
        </p:nvGraphicFramePr>
        <p:xfrm>
          <a:off x="6161428" y="807173"/>
          <a:ext cx="3565767" cy="10263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5767"/>
              </a:tblGrid>
              <a:tr h="51910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유병천 팀장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원종권 선임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임지원 연구원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2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V UHD1 Project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0" name="직사각형 79"/>
          <p:cNvSpPr/>
          <p:nvPr/>
        </p:nvSpPr>
        <p:spPr>
          <a:xfrm>
            <a:off x="226007" y="1275265"/>
            <a:ext cx="144000" cy="14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226007" y="1484830"/>
            <a:ext cx="144000" cy="144000"/>
          </a:xfrm>
          <a:prstGeom prst="rect">
            <a:avLst/>
          </a:prstGeom>
          <a:solidFill>
            <a:srgbClr val="C00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99573" y="1382253"/>
            <a:ext cx="700564" cy="92333"/>
          </a:xfrm>
          <a:prstGeom prst="rect">
            <a:avLst/>
          </a:prstGeom>
          <a:solidFill>
            <a:schemeClr val="bg1">
              <a:alpha val="3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6268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X for Customer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399573" y="1597613"/>
            <a:ext cx="700564" cy="92333"/>
          </a:xfrm>
          <a:prstGeom prst="rect">
            <a:avLst/>
          </a:prstGeom>
          <a:solidFill>
            <a:schemeClr val="bg1">
              <a:alpha val="3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6268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X for Company</a:t>
            </a:r>
          </a:p>
        </p:txBody>
      </p:sp>
      <p:cxnSp>
        <p:nvCxnSpPr>
          <p:cNvPr id="172" name="직선 연결선 171"/>
          <p:cNvCxnSpPr/>
          <p:nvPr/>
        </p:nvCxnSpPr>
        <p:spPr>
          <a:xfrm>
            <a:off x="69037" y="709630"/>
            <a:ext cx="9786163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직사각형 2"/>
          <p:cNvSpPr/>
          <p:nvPr/>
        </p:nvSpPr>
        <p:spPr>
          <a:xfrm>
            <a:off x="1100137" y="810277"/>
            <a:ext cx="3956782" cy="378002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AI(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이미지분석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을 이용한 모듈 배면 부자재 점검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endParaRPr lang="en-US" altLang="ko-KR" sz="1200" b="1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226007" y="1688348"/>
            <a:ext cx="144000" cy="144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5772150" y="2121386"/>
            <a:ext cx="3781425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3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35901" y="2278509"/>
            <a:ext cx="371897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M</a:t>
            </a: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 공정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현황 점검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29" name="그룹 28"/>
          <p:cNvGrpSpPr/>
          <p:nvPr/>
        </p:nvGrpSpPr>
        <p:grpSpPr>
          <a:xfrm>
            <a:off x="6049132" y="2038036"/>
            <a:ext cx="144000" cy="144000"/>
            <a:chOff x="6416896" y="2127540"/>
            <a:chExt cx="144000" cy="144000"/>
          </a:xfrm>
        </p:grpSpPr>
        <p:sp>
          <p:nvSpPr>
            <p:cNvPr id="45" name="타원 44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6" name="Text Box 31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442408" y="2144140"/>
              <a:ext cx="92974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10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41" name="Text Box 3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880589" y="2278509"/>
            <a:ext cx="34143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초기 판정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구현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42" name="그룹 41"/>
          <p:cNvGrpSpPr/>
          <p:nvPr/>
        </p:nvGrpSpPr>
        <p:grpSpPr>
          <a:xfrm>
            <a:off x="6984786" y="2038036"/>
            <a:ext cx="144000" cy="144000"/>
            <a:chOff x="6647879" y="2127540"/>
            <a:chExt cx="144000" cy="144000"/>
          </a:xfrm>
        </p:grpSpPr>
        <p:sp>
          <p:nvSpPr>
            <p:cNvPr id="43" name="타원 42"/>
            <p:cNvSpPr/>
            <p:nvPr/>
          </p:nvSpPr>
          <p:spPr>
            <a:xfrm>
              <a:off x="6647879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4" name="Text Box 31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696634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6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7" name="Text Box 3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297735" y="2278509"/>
            <a:ext cx="320601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대검증</a:t>
            </a:r>
            <a:endParaRPr lang="ko-KR" altLang="en-US" sz="7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8388267" y="2038036"/>
            <a:ext cx="144000" cy="144000"/>
            <a:chOff x="6416896" y="2127540"/>
            <a:chExt cx="144000" cy="144000"/>
          </a:xfrm>
        </p:grpSpPr>
        <p:sp>
          <p:nvSpPr>
            <p:cNvPr id="39" name="타원 38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0" name="Text Box 31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6465651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3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2" name="Text Box 3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756466" y="2278509"/>
            <a:ext cx="34143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스템 및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구축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33" name="그룹 32"/>
          <p:cNvGrpSpPr/>
          <p:nvPr/>
        </p:nvGrpSpPr>
        <p:grpSpPr>
          <a:xfrm>
            <a:off x="8856095" y="2038036"/>
            <a:ext cx="144000" cy="144000"/>
            <a:chOff x="6416896" y="2127540"/>
            <a:chExt cx="144000" cy="144000"/>
          </a:xfrm>
        </p:grpSpPr>
        <p:sp>
          <p:nvSpPr>
            <p:cNvPr id="35" name="타원 34"/>
            <p:cNvSpPr/>
            <p:nvPr/>
          </p:nvSpPr>
          <p:spPr>
            <a:xfrm>
              <a:off x="6416896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36" name="Text Box 31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465652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9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34" name="직사각형 33"/>
          <p:cNvSpPr/>
          <p:nvPr/>
        </p:nvSpPr>
        <p:spPr>
          <a:xfrm>
            <a:off x="5773058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2</a:t>
            </a:r>
            <a:endParaRPr lang="ko-KR" altLang="en-US" dirty="0"/>
          </a:p>
        </p:txBody>
      </p:sp>
      <p:grpSp>
        <p:nvGrpSpPr>
          <p:cNvPr id="5" name="그룹 4"/>
          <p:cNvGrpSpPr/>
          <p:nvPr/>
        </p:nvGrpSpPr>
        <p:grpSpPr>
          <a:xfrm>
            <a:off x="6516959" y="2038036"/>
            <a:ext cx="144000" cy="144000"/>
            <a:chOff x="6471415" y="2203421"/>
            <a:chExt cx="144000" cy="144000"/>
          </a:xfrm>
        </p:grpSpPr>
        <p:sp>
          <p:nvSpPr>
            <p:cNvPr id="48" name="타원 47"/>
            <p:cNvSpPr/>
            <p:nvPr/>
          </p:nvSpPr>
          <p:spPr>
            <a:xfrm>
              <a:off x="6471415" y="2203421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49" name="Text Box 31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520170" y="2220021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1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51" name="Text Box 3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419841" y="2278509"/>
            <a:ext cx="338234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집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7669269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‘24</a:t>
            </a:r>
            <a:endParaRPr lang="ko-KR" altLang="en-US" dirty="0"/>
          </a:p>
        </p:txBody>
      </p:sp>
      <p:sp>
        <p:nvSpPr>
          <p:cNvPr id="54" name="Text Box 3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197169" y="2278509"/>
            <a:ext cx="320601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lobal</a:t>
            </a: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평전개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331813" y="3703026"/>
            <a:ext cx="4032250" cy="2139483"/>
          </a:xfrm>
          <a:prstGeom prst="rect">
            <a:avLst/>
          </a:prstGeom>
        </p:spPr>
      </p:pic>
      <p:sp>
        <p:nvSpPr>
          <p:cNvPr id="50" name="Text Box 3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806490" y="2278509"/>
            <a:ext cx="371897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M</a:t>
            </a: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 평가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최적화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7920440" y="2038036"/>
            <a:ext cx="144000" cy="144000"/>
            <a:chOff x="6647879" y="2127540"/>
            <a:chExt cx="144000" cy="144000"/>
          </a:xfrm>
        </p:grpSpPr>
        <p:sp>
          <p:nvSpPr>
            <p:cNvPr id="55" name="타원 54"/>
            <p:cNvSpPr/>
            <p:nvPr/>
          </p:nvSpPr>
          <p:spPr>
            <a:xfrm>
              <a:off x="6647879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56" name="Text Box 31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696634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1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57" name="직사각형 56"/>
          <p:cNvSpPr/>
          <p:nvPr/>
        </p:nvSpPr>
        <p:spPr>
          <a:xfrm>
            <a:off x="9090306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‘25</a:t>
            </a:r>
            <a:endParaRPr lang="ko-KR" altLang="en-US" dirty="0"/>
          </a:p>
        </p:txBody>
      </p:sp>
      <p:sp>
        <p:nvSpPr>
          <p:cNvPr id="60" name="직사각형 59"/>
          <p:cNvSpPr/>
          <p:nvPr/>
        </p:nvSpPr>
        <p:spPr>
          <a:xfrm>
            <a:off x="6274944" y="1909765"/>
            <a:ext cx="2968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3</a:t>
            </a:r>
            <a:endParaRPr lang="ko-KR" altLang="en-US" dirty="0"/>
          </a:p>
        </p:txBody>
      </p:sp>
      <p:sp>
        <p:nvSpPr>
          <p:cNvPr id="62" name="Text Box 3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303397" y="2278509"/>
            <a:ext cx="442429" cy="193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34938" indent="-134938">
              <a:spcBef>
                <a:spcPts val="300"/>
              </a:spcBef>
              <a:spcAft>
                <a:spcPts val="200"/>
              </a:spcAft>
              <a:buFont typeface="Wingdings" pitchFamily="2" charset="2"/>
              <a:buChar char="§"/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검증 및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ko-KR" altLang="en-US" sz="7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활동</a:t>
            </a:r>
            <a:endParaRPr lang="en-US" altLang="ko-KR" sz="7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63" name="그룹 62"/>
          <p:cNvGrpSpPr/>
          <p:nvPr/>
        </p:nvGrpSpPr>
        <p:grpSpPr>
          <a:xfrm>
            <a:off x="7452613" y="2038036"/>
            <a:ext cx="144000" cy="144000"/>
            <a:chOff x="6647879" y="2127540"/>
            <a:chExt cx="144000" cy="144000"/>
          </a:xfrm>
        </p:grpSpPr>
        <p:sp>
          <p:nvSpPr>
            <p:cNvPr id="64" name="타원 63"/>
            <p:cNvSpPr/>
            <p:nvPr/>
          </p:nvSpPr>
          <p:spPr>
            <a:xfrm>
              <a:off x="6647879" y="2127540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65" name="Text Box 31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696634" y="2144140"/>
              <a:ext cx="46488" cy="110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marL="134938" indent="-134938">
                <a:spcBef>
                  <a:spcPts val="300"/>
                </a:spcBef>
                <a:spcAft>
                  <a:spcPts val="200"/>
                </a:spcAft>
                <a:buFont typeface="Wingdings" pitchFamily="2" charset="2"/>
                <a:buChar char="§"/>
                <a:defRPr sz="1200" b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indent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</a:pPr>
              <a:r>
                <a:rPr lang="en-US" altLang="ko-KR" sz="800" b="1" dirty="0" smtClean="0">
                  <a:solidFill>
                    <a:schemeClr val="bg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6</a:t>
              </a:r>
              <a:endParaRPr lang="ko-KR" altLang="en-US" sz="800" b="1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309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3TtKog5EC2ycmDwU4N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3TtKog5EC2ycmDwU4N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kyi9BnEifGi1D035K0A"/>
</p:tagLst>
</file>

<file path=ppt/theme/theme1.xml><?xml version="1.0" encoding="utf-8"?>
<a:theme xmlns:a="http://schemas.openxmlformats.org/drawingml/2006/main" name="1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0_기본 디자인">
  <a:themeElements>
    <a:clrScheme name="7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사용자 지정 3">
      <a:majorFont>
        <a:latin typeface="Arial Narrow"/>
        <a:ea typeface="LG스마트체2.0 Regular"/>
        <a:cs typeface=""/>
      </a:majorFont>
      <a:minorFont>
        <a:latin typeface="Arial Narrow"/>
        <a:ea typeface="LG스마트체2.0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 fontAlgn="auto">
          <a:spcBef>
            <a:spcPts val="0"/>
          </a:spcBef>
          <a:spcAft>
            <a:spcPts val="0"/>
          </a:spcAft>
          <a:defRPr sz="1000" b="1" dirty="0" smtClean="0">
            <a:solidFill>
              <a:srgbClr val="008000"/>
            </a:solidFill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spDef>
    <a:lnDef>
      <a:spPr>
        <a:ln w="6350">
          <a:solidFill>
            <a:schemeClr val="tx1">
              <a:lumMod val="50000"/>
              <a:lumOff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r">
          <a:lnSpc>
            <a:spcPct val="120000"/>
          </a:lnSpc>
          <a:defRPr sz="1200" i="1" u="sng" smtClean="0">
            <a:solidFill>
              <a:prstClr val="white">
                <a:lumMod val="50000"/>
              </a:prstClr>
            </a:solidFill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7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322</TotalTime>
  <Words>383</Words>
  <Application>Microsoft Office PowerPoint</Application>
  <PresentationFormat>A4 용지(210x297mm)</PresentationFormat>
  <Paragraphs>93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3" baseType="lpstr">
      <vt:lpstr>LG스마트체 Regular</vt:lpstr>
      <vt:lpstr>LG스마트체2.0 Regular</vt:lpstr>
      <vt:lpstr>굴림</vt:lpstr>
      <vt:lpstr>맑은 고딕</vt:lpstr>
      <vt:lpstr>Arial</vt:lpstr>
      <vt:lpstr>Arial Narrow</vt:lpstr>
      <vt:lpstr>Calibri</vt:lpstr>
      <vt:lpstr>Calibri Light</vt:lpstr>
      <vt:lpstr>Wingdings</vt:lpstr>
      <vt:lpstr>11_Office 테마</vt:lpstr>
      <vt:lpstr>40_기본 디자인</vt:lpstr>
      <vt:lpstr>think-cell Slide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용환/책임/기술전략팀(christian.lee@lge.com)</dc:creator>
  <cp:lastModifiedBy>원종권/연구원/TV NanoCell Project(jongkwon77.won@lge.com)</cp:lastModifiedBy>
  <cp:revision>317</cp:revision>
  <cp:lastPrinted>2020-04-01T00:43:27Z</cp:lastPrinted>
  <dcterms:created xsi:type="dcterms:W3CDTF">2018-09-03T04:01:31Z</dcterms:created>
  <dcterms:modified xsi:type="dcterms:W3CDTF">2023-11-15T07:0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c6ed9fc-fefc-4a0c-a6d6-10cf236c0d4f_Enabled">
    <vt:lpwstr>true</vt:lpwstr>
  </property>
  <property fmtid="{D5CDD505-2E9C-101B-9397-08002B2CF9AE}" pid="3" name="MSIP_Label_cc6ed9fc-fefc-4a0c-a6d6-10cf236c0d4f_SetDate">
    <vt:lpwstr>2023-11-15T07:02:06Z</vt:lpwstr>
  </property>
  <property fmtid="{D5CDD505-2E9C-101B-9397-08002B2CF9AE}" pid="4" name="MSIP_Label_cc6ed9fc-fefc-4a0c-a6d6-10cf236c0d4f_Method">
    <vt:lpwstr>Standard</vt:lpwstr>
  </property>
  <property fmtid="{D5CDD505-2E9C-101B-9397-08002B2CF9AE}" pid="5" name="MSIP_Label_cc6ed9fc-fefc-4a0c-a6d6-10cf236c0d4f_Name">
    <vt:lpwstr>Internal use only</vt:lpwstr>
  </property>
  <property fmtid="{D5CDD505-2E9C-101B-9397-08002B2CF9AE}" pid="6" name="MSIP_Label_cc6ed9fc-fefc-4a0c-a6d6-10cf236c0d4f_SiteId">
    <vt:lpwstr>5069cde4-642a-45c0-8094-d0c2dec10be3</vt:lpwstr>
  </property>
  <property fmtid="{D5CDD505-2E9C-101B-9397-08002B2CF9AE}" pid="7" name="MSIP_Label_cc6ed9fc-fefc-4a0c-a6d6-10cf236c0d4f_ActionId">
    <vt:lpwstr>69638489-9e35-4085-8872-29ca2185031e</vt:lpwstr>
  </property>
  <property fmtid="{D5CDD505-2E9C-101B-9397-08002B2CF9AE}" pid="8" name="MSIP_Label_cc6ed9fc-fefc-4a0c-a6d6-10cf236c0d4f_ContentBits">
    <vt:lpwstr>1</vt:lpwstr>
  </property>
</Properties>
</file>